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2"/>
  </p:notesMasterIdLst>
  <p:sldIdLst>
    <p:sldId id="256" r:id="rId2"/>
    <p:sldId id="1072" r:id="rId3"/>
    <p:sldId id="1084" r:id="rId4"/>
    <p:sldId id="1089" r:id="rId5"/>
    <p:sldId id="1087" r:id="rId6"/>
    <p:sldId id="1085" r:id="rId7"/>
    <p:sldId id="1086" r:id="rId8"/>
    <p:sldId id="1088" r:id="rId9"/>
    <p:sldId id="1090" r:id="rId10"/>
    <p:sldId id="1083" r:id="rId11"/>
  </p:sldIdLst>
  <p:sldSz cx="12192000" cy="6858000"/>
  <p:notesSz cx="6858000" cy="9144000"/>
  <p:embeddedFontLst>
    <p:embeddedFont>
      <p:font typeface="Cambria Math" panose="02040503050406030204" pitchFamily="18" charset="0"/>
      <p:regular r:id="rId13"/>
    </p:embeddedFont>
    <p:embeddedFont>
      <p:font typeface="맑은 고딕" panose="020B0503020000020004" pitchFamily="50" charset="-127"/>
      <p:regular r:id="rId14"/>
      <p:bold r:id="rId15"/>
    </p:embeddedFont>
    <p:embeddedFont>
      <p:font typeface="현대하모니 B" panose="02020603020101020101" pitchFamily="18" charset="-127"/>
      <p:regular r:id="rId16"/>
    </p:embeddedFont>
    <p:embeddedFont>
      <p:font typeface="현대하모니 L" panose="02020603020101020101" pitchFamily="18" charset="-127"/>
      <p:regular r:id="rId17"/>
    </p:embeddedFont>
    <p:embeddedFont>
      <p:font typeface="현대하모니 M" panose="02020603020101020101" pitchFamily="18" charset="-127"/>
      <p:regular r:id="rId18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77765" autoAdjust="0"/>
  </p:normalViewPr>
  <p:slideViewPr>
    <p:cSldViewPr snapToGrid="0">
      <p:cViewPr varScale="1">
        <p:scale>
          <a:sx n="88" d="100"/>
          <a:sy n="88" d="100"/>
        </p:scale>
        <p:origin x="129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3-11-26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r>
              <a:rPr kumimoji="1" lang="en-US" altLang="ko-KR" sz="1200" b="1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Hello, we are team (). And I’d like to present about our this week’s progress of final project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First, the shape of the model that has a problem in actual operation is as follows. You can see that the motor case is connected with the main frame with two point contacts.</a:t>
            </a:r>
          </a:p>
          <a:p>
            <a:endParaRPr lang="en-US" altLang="ko-KR" b="1" dirty="0"/>
          </a:p>
          <a:p>
            <a:r>
              <a:rPr lang="en-US" altLang="ko-KR" b="1" dirty="0"/>
              <a:t>And the calculated tension that we have to consider is about 700 N. And generally, considering some coefficients, the maximum tension we got is about 5 </a:t>
            </a:r>
            <a:r>
              <a:rPr lang="en-US" altLang="ko-KR" b="1" dirty="0" err="1"/>
              <a:t>kN.</a:t>
            </a:r>
            <a:r>
              <a:rPr lang="en-US" altLang="ko-KR" b="1" dirty="0"/>
              <a:t> </a:t>
            </a:r>
          </a:p>
          <a:p>
            <a:endParaRPr lang="en-US" altLang="ko-KR" b="1" dirty="0"/>
          </a:p>
          <a:p>
            <a:r>
              <a:rPr lang="en-US" altLang="ko-KR" b="1" dirty="0"/>
              <a:t>And the main problem of this structure was chain loosening and um,, some cases that seem to be a material yield in some frames of the rear part.</a:t>
            </a:r>
          </a:p>
          <a:p>
            <a:endParaRPr lang="en-US" altLang="ko-KR" b="1" dirty="0"/>
          </a:p>
          <a:p>
            <a:r>
              <a:rPr lang="en-US" altLang="ko-KR" b="1" dirty="0"/>
              <a:t>So we planned to make some developments to solve those problems by getting proper analysis of this model.</a:t>
            </a:r>
          </a:p>
          <a:p>
            <a:endParaRPr lang="en-US" altLang="ko-KR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6630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The materials used in actual vehicles are as follows.</a:t>
            </a:r>
          </a:p>
          <a:p>
            <a:endParaRPr lang="en-US" altLang="ko-KR" b="1" dirty="0"/>
          </a:p>
          <a:p>
            <a:r>
              <a:rPr lang="en-US" altLang="ko-KR" b="1" dirty="0"/>
              <a:t>For the main frame, SM45C material was used. </a:t>
            </a:r>
          </a:p>
          <a:p>
            <a:endParaRPr lang="en-US" altLang="ko-KR" b="1" dirty="0"/>
          </a:p>
          <a:p>
            <a:r>
              <a:rPr lang="en-US" altLang="ko-KR" b="1" dirty="0"/>
              <a:t>And up, for chain sprockets subject to large tension, reinforced SM45C was used. </a:t>
            </a:r>
          </a:p>
          <a:p>
            <a:endParaRPr lang="en-US" altLang="ko-KR" b="1" dirty="0"/>
          </a:p>
          <a:p>
            <a:r>
              <a:rPr lang="en-US" altLang="ko-KR" b="1" dirty="0"/>
              <a:t>In addition, aluminum T6 was used for the motor case and LSD. </a:t>
            </a:r>
          </a:p>
          <a:p>
            <a:endParaRPr lang="en-US" altLang="ko-KR" b="1" dirty="0"/>
          </a:p>
          <a:p>
            <a:r>
              <a:rPr lang="en-US" altLang="ko-KR" b="1" dirty="0"/>
              <a:t>And some parts those were not necessary for the analysis were set with steel and the analysis was performed.</a:t>
            </a:r>
          </a:p>
          <a:p>
            <a:endParaRPr lang="en-US" altLang="ko-KR" b="1" dirty="0"/>
          </a:p>
          <a:p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17242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And, this page shows the set forces and boundary conditions. </a:t>
            </a:r>
          </a:p>
          <a:p>
            <a:endParaRPr lang="en-US" altLang="ko-KR" b="1" dirty="0"/>
          </a:p>
          <a:p>
            <a:r>
              <a:rPr lang="en-US" altLang="ko-KR" b="1" dirty="0"/>
              <a:t>We explained all of the force components in the last presentation, and </a:t>
            </a:r>
            <a:r>
              <a:rPr lang="en-US" altLang="ko-KR" b="1"/>
              <a:t>I’d like to </a:t>
            </a:r>
            <a:r>
              <a:rPr lang="en-US" altLang="ko-KR" b="1" dirty="0"/>
              <a:t>cover the boundary condition in detail.</a:t>
            </a:r>
          </a:p>
          <a:p>
            <a:endParaRPr lang="en-US" altLang="ko-KR" b="1" dirty="0"/>
          </a:p>
          <a:p>
            <a:r>
              <a:rPr lang="en-US" altLang="ko-KR" b="1" dirty="0"/>
              <a:t>As frame is welded in some part with the car body, we set the line with fixed support, not all the surface of the vertical frame.</a:t>
            </a:r>
          </a:p>
          <a:p>
            <a:br>
              <a:rPr lang="en-US" altLang="ko-KR" b="1" dirty="0"/>
            </a:br>
            <a:r>
              <a:rPr lang="en-US" altLang="ko-KR" b="1" dirty="0"/>
              <a:t>And as you can see in the picture below, the frames are connected with upper and lower arm with bracket. And they move in the vertical direction and can have a z axis rotation.</a:t>
            </a:r>
          </a:p>
          <a:p>
            <a:endParaRPr lang="en-US" altLang="ko-KR" b="1" dirty="0"/>
          </a:p>
          <a:p>
            <a:r>
              <a:rPr lang="en-US" altLang="ko-KR" b="1" dirty="0"/>
              <a:t>So, we set those part with remote displacement with translational y component and the z rotational component as free. </a:t>
            </a:r>
          </a:p>
          <a:p>
            <a:endParaRPr lang="en-US" altLang="ko-KR" b="1" dirty="0"/>
          </a:p>
          <a:p>
            <a:r>
              <a:rPr lang="en-US" altLang="ko-KR" b="1" dirty="0"/>
              <a:t>We considered all the offsets cos they are connected with brocket.</a:t>
            </a:r>
          </a:p>
          <a:p>
            <a:endParaRPr lang="en-US" altLang="ko-KR" b="1" dirty="0"/>
          </a:p>
          <a:p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29269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This is the analysis result of problem model.</a:t>
            </a:r>
          </a:p>
          <a:p>
            <a:endParaRPr lang="en-US" altLang="ko-KR" b="1" dirty="0"/>
          </a:p>
          <a:p>
            <a:r>
              <a:rPr lang="en-US" altLang="ko-KR" b="1" dirty="0"/>
              <a:t>The frames that I marked with red box are the part suspected of yielding during actual operation.</a:t>
            </a:r>
          </a:p>
          <a:p>
            <a:endParaRPr lang="en-US" altLang="ko-KR" b="1" dirty="0"/>
          </a:p>
          <a:p>
            <a:r>
              <a:rPr lang="en-US" altLang="ko-KR" b="1" dirty="0"/>
              <a:t>As you can see in the results, stress values around those parts are about in range of 350 – 500 MPa.</a:t>
            </a:r>
          </a:p>
          <a:p>
            <a:endParaRPr lang="en-US" altLang="ko-KR" b="1" dirty="0"/>
          </a:p>
          <a:p>
            <a:r>
              <a:rPr lang="en-US" altLang="ko-KR" b="1" dirty="0"/>
              <a:t>We confirmed that when we applied the maximum stress considering many environmental factors, the suspected part reached yielding state.</a:t>
            </a:r>
          </a:p>
          <a:p>
            <a:endParaRPr lang="en-US" altLang="ko-KR" b="1" dirty="0"/>
          </a:p>
          <a:p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40830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As an developed model to prevent chain loosening and material yielding, we planned to add one more contact to the motor case and add more frames in the below part. </a:t>
            </a:r>
          </a:p>
          <a:p>
            <a:endParaRPr lang="en-US" altLang="ko-KR" b="1" dirty="0"/>
          </a:p>
          <a:p>
            <a:r>
              <a:rPr lang="en-US" altLang="ko-KR" b="1" dirty="0"/>
              <a:t>Accordingly, we thought that it would be possible to prevent material yielding by adding some frames in the body.</a:t>
            </a:r>
          </a:p>
          <a:p>
            <a:endParaRPr lang="en-US" altLang="ko-KR" b="1" dirty="0"/>
          </a:p>
          <a:p>
            <a:r>
              <a:rPr lang="en-US" altLang="ko-KR" b="1" dirty="0"/>
              <a:t>And </a:t>
            </a:r>
            <a:r>
              <a:rPr lang="en-US" altLang="ko-KR" b="1"/>
              <a:t>we thought that </a:t>
            </a:r>
            <a:r>
              <a:rPr lang="en-US" altLang="ko-KR" b="1" dirty="0"/>
              <a:t>it can be also possible to prevent horizontal rotation of the motor case by adding one more point contact.</a:t>
            </a:r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90800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And the developed model is specified in the right figure.</a:t>
            </a:r>
          </a:p>
          <a:p>
            <a:endParaRPr lang="en-US" altLang="ko-KR" b="1" dirty="0"/>
          </a:p>
          <a:p>
            <a:r>
              <a:rPr lang="en-US" altLang="ko-KR" b="1" dirty="0"/>
              <a:t>As you can see, two frames are added in the below part of the body, and one more point contact are added in the motor case.</a:t>
            </a:r>
          </a:p>
          <a:p>
            <a:endParaRPr lang="en-US" altLang="ko-KR" b="1" dirty="0"/>
          </a:p>
          <a:p>
            <a:r>
              <a:rPr lang="en-US" altLang="ko-KR" b="1" dirty="0"/>
              <a:t>And the following results are specified in the next page.</a:t>
            </a:r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221076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These figures are the analysis results of three point model. As I mentioned earlier, one more contact for motor case and the two frames are added.</a:t>
            </a:r>
          </a:p>
          <a:p>
            <a:endParaRPr lang="en-US" altLang="ko-KR" b="1" dirty="0"/>
          </a:p>
          <a:p>
            <a:r>
              <a:rPr lang="en-US" altLang="ko-KR" b="1" dirty="0"/>
              <a:t>As can be seen in the results of the developed model, it can be seen that the stress, which was a problem at the yield area of ​​the main material, has decreased.</a:t>
            </a:r>
          </a:p>
          <a:p>
            <a:endParaRPr lang="en-US" altLang="ko-KR" b="1" dirty="0"/>
          </a:p>
          <a:p>
            <a:r>
              <a:rPr lang="en-US" altLang="ko-KR" b="1" dirty="0"/>
              <a:t>The animation result is just a scaled view. </a:t>
            </a:r>
          </a:p>
          <a:p>
            <a:endParaRPr lang="en-US" altLang="ko-KR" b="1" dirty="0"/>
          </a:p>
          <a:p>
            <a:r>
              <a:rPr lang="en-US" altLang="ko-KR" b="1" dirty="0"/>
              <a:t>Later, we plan to find exact solutions by setting boundary conditions and connection conditions those are closer to reality.</a:t>
            </a:r>
          </a:p>
          <a:p>
            <a:endParaRPr lang="en-US" altLang="ko-KR" b="1" dirty="0"/>
          </a:p>
          <a:p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374675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In week 14, we plan to conduct fatigue analysis. </a:t>
            </a:r>
          </a:p>
          <a:p>
            <a:endParaRPr lang="en-US" altLang="ko-KR" b="1" dirty="0"/>
          </a:p>
          <a:p>
            <a:r>
              <a:rPr lang="en-US" altLang="ko-KR" b="1"/>
              <a:t>Um, we </a:t>
            </a:r>
            <a:r>
              <a:rPr lang="en-US" altLang="ko-KR" b="1" dirty="0"/>
              <a:t>plan to determine fatigue correction coefficients and analyze the effect of sprocket fatigue </a:t>
            </a:r>
            <a:r>
              <a:rPr lang="en-US" altLang="ko-KR" b="1"/>
              <a:t>due to chain </a:t>
            </a:r>
            <a:r>
              <a:rPr lang="en-US" altLang="ko-KR" b="1" dirty="0"/>
              <a:t>tension.</a:t>
            </a:r>
            <a:endParaRPr lang="ko-KR" altLang="en-US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61730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0521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3-11-26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gif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gif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2024351" y="1349186"/>
            <a:ext cx="8142607" cy="981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AE Final Project</a:t>
            </a:r>
            <a:endParaRPr lang="ko-KR" altLang="en-US" sz="44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477D13-D900-708C-F7D2-3991C4C4FD5A}"/>
              </a:ext>
            </a:extLst>
          </p:cNvPr>
          <p:cNvSpPr txBox="1"/>
          <p:nvPr/>
        </p:nvSpPr>
        <p:spPr>
          <a:xfrm>
            <a:off x="1550126" y="2926080"/>
            <a:ext cx="9109165" cy="153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2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tructural analysis of motor part of self-made car </a:t>
            </a:r>
          </a:p>
          <a:p>
            <a:pPr algn="ctr">
              <a:lnSpc>
                <a:spcPct val="150000"/>
              </a:lnSpc>
            </a:pPr>
            <a:r>
              <a:rPr lang="en-US" altLang="ko-KR" sz="22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d its development</a:t>
            </a:r>
          </a:p>
          <a:p>
            <a:pPr algn="ctr">
              <a:lnSpc>
                <a:spcPct val="150000"/>
              </a:lnSpc>
            </a:pPr>
            <a:endParaRPr lang="ko-KR" altLang="en-US" sz="22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14510-71FF-EF92-BB72-951820056174}"/>
              </a:ext>
            </a:extLst>
          </p:cNvPr>
          <p:cNvSpPr txBox="1"/>
          <p:nvPr/>
        </p:nvSpPr>
        <p:spPr>
          <a:xfrm>
            <a:off x="4431673" y="5354460"/>
            <a:ext cx="3327961" cy="858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023.11.27</a:t>
            </a:r>
          </a:p>
          <a:p>
            <a:pPr algn="ctr">
              <a:lnSpc>
                <a:spcPct val="150000"/>
              </a:lnSpc>
            </a:pP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ECD1087-6E16-36A3-F2B1-945459513403}"/>
              </a:ext>
            </a:extLst>
          </p:cNvPr>
          <p:cNvSpPr txBox="1"/>
          <p:nvPr/>
        </p:nvSpPr>
        <p:spPr>
          <a:xfrm>
            <a:off x="746667" y="2992887"/>
            <a:ext cx="10020652" cy="872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40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hank you</a:t>
            </a:r>
            <a:endParaRPr lang="ko-KR" altLang="en-US" sz="40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488493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blem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alysis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48304149-7C1D-FB09-FFC4-9315ACBC5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blem model</a:t>
            </a: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2410E279-9CAF-AA14-FFA3-AF2D368DF3DB}"/>
              </a:ext>
            </a:extLst>
          </p:cNvPr>
          <p:cNvCxnSpPr>
            <a:cxnSpLocks/>
          </p:cNvCxnSpPr>
          <p:nvPr/>
        </p:nvCxnSpPr>
        <p:spPr>
          <a:xfrm>
            <a:off x="5270643" y="942802"/>
            <a:ext cx="0" cy="54477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화살표: 갈매기형 수장 18">
            <a:extLst>
              <a:ext uri="{FF2B5EF4-FFF2-40B4-BE49-F238E27FC236}">
                <a16:creationId xmlns:a16="http://schemas.microsoft.com/office/drawing/2014/main" id="{9EF46CFC-EB9B-37CE-3BAF-8BAD146DC31A}"/>
              </a:ext>
            </a:extLst>
          </p:cNvPr>
          <p:cNvSpPr/>
          <p:nvPr/>
        </p:nvSpPr>
        <p:spPr>
          <a:xfrm rot="5400000">
            <a:off x="8041460" y="4297549"/>
            <a:ext cx="587439" cy="1001485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345D853A-96CA-243A-E92D-E7DB25BA54F8}"/>
              </a:ext>
            </a:extLst>
          </p:cNvPr>
          <p:cNvGrpSpPr/>
          <p:nvPr/>
        </p:nvGrpSpPr>
        <p:grpSpPr>
          <a:xfrm>
            <a:off x="325172" y="1755751"/>
            <a:ext cx="4803404" cy="3965757"/>
            <a:chOff x="325172" y="1537637"/>
            <a:chExt cx="4803404" cy="3965757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77567A3D-492D-F658-0B8E-F33FA98DCB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6945" y="1537637"/>
              <a:ext cx="4801631" cy="3405733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3E10B0D-D9DB-BD44-E7F7-5122D9AE6820}"/>
                </a:ext>
              </a:extLst>
            </p:cNvPr>
            <p:cNvSpPr txBox="1"/>
            <p:nvPr/>
          </p:nvSpPr>
          <p:spPr>
            <a:xfrm>
              <a:off x="325172" y="5134062"/>
              <a:ext cx="48016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b="1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[Problem model : 2 point contact]</a:t>
              </a:r>
              <a:endParaRPr lang="ko-KR" altLang="en-US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DF058ED-8B55-0D19-97EC-690075A39FA4}"/>
                  </a:ext>
                </a:extLst>
              </p:cNvPr>
              <p:cNvSpPr txBox="1"/>
              <p:nvPr/>
            </p:nvSpPr>
            <p:spPr>
              <a:xfrm>
                <a:off x="5412711" y="800189"/>
                <a:ext cx="6264762" cy="34453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dirty="0">
                    <a:latin typeface="현대하모니 L" panose="02020603020101020101" pitchFamily="18" charset="-127"/>
                    <a:ea typeface="현대하모니 L" panose="02020603020101020101" pitchFamily="18" charset="-127"/>
                  </a:rPr>
                  <a:t>Two point contact condition of motor case</a:t>
                </a:r>
              </a:p>
              <a:p>
                <a:pPr marL="285750" indent="-28575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dirty="0">
                    <a:latin typeface="현대하모니 L" panose="02020603020101020101" pitchFamily="18" charset="-127"/>
                    <a:ea typeface="현대하모니 L" panose="02020603020101020101" pitchFamily="18" charset="-127"/>
                  </a:rPr>
                  <a:t>Considered forces</a:t>
                </a:r>
              </a:p>
              <a:p>
                <a:pPr marL="342900" indent="-342900">
                  <a:lnSpc>
                    <a:spcPct val="200000"/>
                  </a:lnSpc>
                  <a:buAutoNum type="arabicParenR"/>
                </a:pPr>
                <a:r>
                  <a:rPr lang="en-US" altLang="ko-KR" dirty="0">
                    <a:latin typeface="현대하모니 L" panose="02020603020101020101" pitchFamily="18" charset="-127"/>
                    <a:ea typeface="현대하모니 L" panose="02020603020101020101" pitchFamily="18" charset="-127"/>
                  </a:rPr>
                  <a:t>Tension of motor 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n-US" altLang="ko-KR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endParaRPr>
              </a:p>
              <a:p>
                <a:pPr marL="342900" indent="-342900">
                  <a:lnSpc>
                    <a:spcPct val="200000"/>
                  </a:lnSpc>
                  <a:buAutoNum type="arabicParenR"/>
                </a:pPr>
                <a:r>
                  <a:rPr lang="en-US" altLang="ko-KR" dirty="0">
                    <a:latin typeface="현대하모니 L" panose="02020603020101020101" pitchFamily="18" charset="-127"/>
                    <a:ea typeface="현대하모니 L" panose="02020603020101020101" pitchFamily="18" charset="-127"/>
                  </a:rPr>
                  <a:t>Four forces applied on upper brackets 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n-US" altLang="ko-KR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r>
                      <a:rPr lang="en-US" altLang="ko-KR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altLang="ko-KR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n-US" altLang="ko-KR" b="0" i="1" smtClean="0">
                            <a:latin typeface="Cambria Math" panose="02040503050406030204" pitchFamily="18" charset="0"/>
                          </a:rPr>
                          <m:t>𝑚𝑎𝑖𝑛</m:t>
                        </m:r>
                      </m:sub>
                    </m:sSub>
                  </m:oMath>
                </a14:m>
                <a:endPara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altLang="ko-KR" b="0" i="1" smtClean="0">
                          <a:latin typeface="Cambria Math" panose="02040503050406030204" pitchFamily="18" charset="0"/>
                        </a:rPr>
                        <m:t>=7∙</m:t>
                      </m:r>
                      <m:sSub>
                        <m:sSubPr>
                          <m:ctrlP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altLang="ko-KR" b="0" i="1" smtClean="0">
                          <a:latin typeface="Cambria Math" panose="02040503050406030204" pitchFamily="18" charset="0"/>
                        </a:rPr>
                        <m:t>≅5.2074 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𝑘𝑁</m:t>
                          </m:r>
                        </m:e>
                      </m:d>
                    </m:oMath>
                  </m:oMathPara>
                </a14:m>
                <a:endParaRPr lang="en-US" altLang="ko-KR" b="0" dirty="0">
                  <a:latin typeface="현대하모니 L" panose="02020603020101020101" pitchFamily="18" charset="-127"/>
                  <a:ea typeface="현대하모니 L" panose="02020603020101020101" pitchFamily="18" charset="-127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  <m:r>
                        <a:rPr lang="en-US" altLang="ko-KR" b="0" i="1" smtClean="0">
                          <a:latin typeface="Cambria Math" panose="02040503050406030204" pitchFamily="18" charset="0"/>
                        </a:rPr>
                        <m:t>=732 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</m:d>
                      <m:r>
                        <a:rPr lang="en-US" altLang="ko-KR" b="0" i="1" smtClean="0">
                          <a:latin typeface="Cambria Math" panose="02040503050406030204" pitchFamily="18" charset="0"/>
                        </a:rPr>
                        <m:t>,  </m:t>
                      </m:r>
                      <m:sSub>
                        <m:sSubPr>
                          <m:ctrlP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altLang="ko-KR" b="0" i="1" smtClean="0">
                              <a:latin typeface="Cambria Math" panose="02040503050406030204" pitchFamily="18" charset="0"/>
                            </a:rPr>
                            <m:t>𝑚𝑎𝑖𝑛</m:t>
                          </m:r>
                        </m:sub>
                      </m:sSub>
                      <m:r>
                        <a:rPr lang="en-US" altLang="ko-KR" b="0" i="1" smtClean="0">
                          <a:latin typeface="Cambria Math" panose="02040503050406030204" pitchFamily="18" charset="0"/>
                        </a:rPr>
                        <m:t>=1.39[</m:t>
                      </m:r>
                      <m:r>
                        <a:rPr lang="en-US" altLang="ko-KR" b="0" i="1" smtClean="0">
                          <a:latin typeface="Cambria Math" panose="02040503050406030204" pitchFamily="18" charset="0"/>
                        </a:rPr>
                        <m:t>𝑘𝑁</m:t>
                      </m:r>
                      <m:r>
                        <a:rPr lang="en-US" altLang="ko-KR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DF058ED-8B55-0D19-97EC-690075A39F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2711" y="800189"/>
                <a:ext cx="6264762" cy="3445302"/>
              </a:xfrm>
              <a:prstGeom prst="rect">
                <a:avLst/>
              </a:prstGeom>
              <a:blipFill>
                <a:blip r:embed="rId4"/>
                <a:stretch>
                  <a:fillRect l="-68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TextBox 19">
            <a:extLst>
              <a:ext uri="{FF2B5EF4-FFF2-40B4-BE49-F238E27FC236}">
                <a16:creationId xmlns:a16="http://schemas.microsoft.com/office/drawing/2014/main" id="{0B976DAB-1A69-2F7F-A656-19390B6C1744}"/>
              </a:ext>
            </a:extLst>
          </p:cNvPr>
          <p:cNvSpPr txBox="1"/>
          <p:nvPr/>
        </p:nvSpPr>
        <p:spPr>
          <a:xfrm>
            <a:off x="5587070" y="5224730"/>
            <a:ext cx="6090403" cy="1112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hain loosening problem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ar frame displacement problem</a:t>
            </a:r>
          </a:p>
        </p:txBody>
      </p:sp>
    </p:spTree>
    <p:extLst>
      <p:ext uri="{BB962C8B-B14F-4D97-AF65-F5344CB8AC3E}">
        <p14:creationId xmlns:p14="http://schemas.microsoft.com/office/powerpoint/2010/main" val="1881378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CEB637-27BB-48C9-2BEA-8C9F9EA80F34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blem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alysis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3479607D-6000-2763-1368-7084ECFD5FA1}"/>
              </a:ext>
            </a:extLst>
          </p:cNvPr>
          <p:cNvGrpSpPr/>
          <p:nvPr/>
        </p:nvGrpSpPr>
        <p:grpSpPr>
          <a:xfrm>
            <a:off x="347244" y="1848030"/>
            <a:ext cx="4803404" cy="3965757"/>
            <a:chOff x="325172" y="1537637"/>
            <a:chExt cx="4803404" cy="3965757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B621BAD5-4793-2260-9E61-AF697B8CC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6945" y="1537637"/>
              <a:ext cx="4801631" cy="3405733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C125450-8C49-5C5E-97BA-F546E8DAA8EF}"/>
                </a:ext>
              </a:extLst>
            </p:cNvPr>
            <p:cNvSpPr txBox="1"/>
            <p:nvPr/>
          </p:nvSpPr>
          <p:spPr>
            <a:xfrm>
              <a:off x="325172" y="5134062"/>
              <a:ext cx="48016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b="1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[Problem model : 2 point contact]</a:t>
              </a:r>
              <a:endParaRPr lang="ko-KR" altLang="en-US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D9A4E377-E450-465D-2935-E20960CB16FE}"/>
              </a:ext>
            </a:extLst>
          </p:cNvPr>
          <p:cNvCxnSpPr>
            <a:cxnSpLocks/>
          </p:cNvCxnSpPr>
          <p:nvPr/>
        </p:nvCxnSpPr>
        <p:spPr>
          <a:xfrm>
            <a:off x="5270643" y="942802"/>
            <a:ext cx="0" cy="54477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utoShape 2">
            <a:extLst>
              <a:ext uri="{FF2B5EF4-FFF2-40B4-BE49-F238E27FC236}">
                <a16:creationId xmlns:a16="http://schemas.microsoft.com/office/drawing/2014/main" id="{69082F97-6C72-FC47-ECD6-A07E2B992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aterial of compon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3" name="표 12">
                <a:extLst>
                  <a:ext uri="{FF2B5EF4-FFF2-40B4-BE49-F238E27FC236}">
                    <a16:creationId xmlns:a16="http://schemas.microsoft.com/office/drawing/2014/main" id="{98234BB0-2182-A266-E526-39CD024959C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27598869"/>
                  </p:ext>
                </p:extLst>
              </p:nvPr>
            </p:nvGraphicFramePr>
            <p:xfrm>
              <a:off x="5488264" y="1483064"/>
              <a:ext cx="6491211" cy="4641443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63737">
                      <a:extLst>
                        <a:ext uri="{9D8B030D-6E8A-4147-A177-3AD203B41FA5}">
                          <a16:colId xmlns:a16="http://schemas.microsoft.com/office/drawing/2014/main" val="1767393179"/>
                        </a:ext>
                      </a:extLst>
                    </a:gridCol>
                    <a:gridCol w="2163737">
                      <a:extLst>
                        <a:ext uri="{9D8B030D-6E8A-4147-A177-3AD203B41FA5}">
                          <a16:colId xmlns:a16="http://schemas.microsoft.com/office/drawing/2014/main" val="1200077252"/>
                        </a:ext>
                      </a:extLst>
                    </a:gridCol>
                    <a:gridCol w="2163737">
                      <a:extLst>
                        <a:ext uri="{9D8B030D-6E8A-4147-A177-3AD203B41FA5}">
                          <a16:colId xmlns:a16="http://schemas.microsoft.com/office/drawing/2014/main" val="3358380977"/>
                        </a:ext>
                      </a:extLst>
                    </a:gridCol>
                  </a:tblGrid>
                  <a:tr h="683359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omponent</a:t>
                          </a:r>
                          <a:endParaRPr lang="ko-KR" altLang="en-US" sz="1500" b="1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aterial</a:t>
                          </a:r>
                          <a:endParaRPr lang="ko-KR" altLang="en-US" sz="1500" b="1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ain properties</a:t>
                          </a:r>
                          <a:endParaRPr lang="ko-KR" altLang="en-US" sz="1500" b="1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54159602"/>
                      </a:ext>
                    </a:extLst>
                  </a:tr>
                  <a:tr h="683359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ain body (frame)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M45C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𝐸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205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𝐺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𝑦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320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𝑀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𝑢𝑡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540 [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𝑀𝑃𝑎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116794035"/>
                      </a:ext>
                    </a:extLst>
                  </a:tr>
                  <a:tr h="683359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hain sprocket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M45C </a:t>
                          </a:r>
                        </a:p>
                        <a:p>
                          <a:pPr algn="ctr" latinLnBrk="1"/>
                          <a:r>
                            <a:rPr lang="en-US" altLang="ko-KR" sz="1500" dirty="0">
                              <a:solidFill>
                                <a:srgbClr val="FF0000"/>
                              </a:solidFill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Induction hardening</a:t>
                          </a:r>
                        </a:p>
                        <a:p>
                          <a:pPr algn="ctr" latinLnBrk="1"/>
                          <a:r>
                            <a:rPr lang="en-US" altLang="ko-KR" sz="1500" dirty="0">
                              <a:solidFill>
                                <a:srgbClr val="FF0000"/>
                              </a:solidFill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Anodized</a:t>
                          </a:r>
                          <a:endParaRPr lang="ko-KR" altLang="en-US" sz="1500" dirty="0">
                            <a:solidFill>
                              <a:srgbClr val="FF0000"/>
                            </a:solidFill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uch higher than frame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930160384"/>
                      </a:ext>
                    </a:extLst>
                  </a:tr>
                  <a:tr h="683359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LSD, motor case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AL6061-T6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𝐸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70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𝐺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𝑦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276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𝑀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𝑢𝑡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310 [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𝑀𝑃𝑎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689984185"/>
                      </a:ext>
                    </a:extLst>
                  </a:tr>
                  <a:tr h="683359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Bracket (case – frame)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M45C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𝐸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205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𝐺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𝑦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320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𝑀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𝑢𝑡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540 [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𝑀𝑃𝑎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747728973"/>
                      </a:ext>
                    </a:extLst>
                  </a:tr>
                  <a:tr h="683359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Other components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tructural steel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𝐸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200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𝐺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𝑦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250 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𝑀𝑃𝑎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altLang="ko-KR" sz="1500" b="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en-US" altLang="ko-KR" sz="1500" b="0" i="1" smtClean="0">
                                        <a:latin typeface="Cambria Math" panose="02040503050406030204" pitchFamily="18" charset="0"/>
                                        <a:ea typeface="현대하모니 L" panose="02020603020101020101" pitchFamily="18" charset="-127"/>
                                      </a:rPr>
                                      <m:t>𝑢𝑡</m:t>
                                    </m:r>
                                  </m:sub>
                                </m:sSub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=400 [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𝑀𝑃𝑎</m:t>
                                </m:r>
                                <m:r>
                                  <a:rPr lang="en-US" altLang="ko-KR" sz="1500" b="0" i="1" smtClean="0">
                                    <a:latin typeface="Cambria Math" panose="02040503050406030204" pitchFamily="18" charset="0"/>
                                    <a:ea typeface="현대하모니 L" panose="02020603020101020101" pitchFamily="18" charset="-127"/>
                                  </a:rPr>
                                  <m:t>]</m:t>
                                </m:r>
                              </m:oMath>
                            </m:oMathPara>
                          </a14:m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09505484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3" name="표 12">
                <a:extLst>
                  <a:ext uri="{FF2B5EF4-FFF2-40B4-BE49-F238E27FC236}">
                    <a16:creationId xmlns:a16="http://schemas.microsoft.com/office/drawing/2014/main" id="{98234BB0-2182-A266-E526-39CD024959C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27598869"/>
                  </p:ext>
                </p:extLst>
              </p:nvPr>
            </p:nvGraphicFramePr>
            <p:xfrm>
              <a:off x="5488264" y="1483064"/>
              <a:ext cx="6491211" cy="4641443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63737">
                      <a:extLst>
                        <a:ext uri="{9D8B030D-6E8A-4147-A177-3AD203B41FA5}">
                          <a16:colId xmlns:a16="http://schemas.microsoft.com/office/drawing/2014/main" val="1767393179"/>
                        </a:ext>
                      </a:extLst>
                    </a:gridCol>
                    <a:gridCol w="2163737">
                      <a:extLst>
                        <a:ext uri="{9D8B030D-6E8A-4147-A177-3AD203B41FA5}">
                          <a16:colId xmlns:a16="http://schemas.microsoft.com/office/drawing/2014/main" val="1200077252"/>
                        </a:ext>
                      </a:extLst>
                    </a:gridCol>
                    <a:gridCol w="2163737">
                      <a:extLst>
                        <a:ext uri="{9D8B030D-6E8A-4147-A177-3AD203B41FA5}">
                          <a16:colId xmlns:a16="http://schemas.microsoft.com/office/drawing/2014/main" val="3358380977"/>
                        </a:ext>
                      </a:extLst>
                    </a:gridCol>
                  </a:tblGrid>
                  <a:tr h="683359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omponent</a:t>
                          </a:r>
                          <a:endParaRPr lang="ko-KR" altLang="en-US" sz="1500" b="1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aterial</a:t>
                          </a:r>
                          <a:endParaRPr lang="ko-KR" altLang="en-US" sz="1500" b="1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ain properties</a:t>
                          </a:r>
                          <a:endParaRPr lang="ko-KR" altLang="en-US" sz="1500" b="1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54159602"/>
                      </a:ext>
                    </a:extLst>
                  </a:tr>
                  <a:tr h="79521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ain body (frame)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M45C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4"/>
                          <a:stretch>
                            <a:fillRect l="-200563" t="-86260" r="-563" b="-4022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16794035"/>
                      </a:ext>
                    </a:extLst>
                  </a:tr>
                  <a:tr h="777240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Chain sprocket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M45C </a:t>
                          </a:r>
                        </a:p>
                        <a:p>
                          <a:pPr algn="ctr" latinLnBrk="1"/>
                          <a:r>
                            <a:rPr lang="en-US" altLang="ko-KR" sz="1500" dirty="0">
                              <a:solidFill>
                                <a:srgbClr val="FF0000"/>
                              </a:solidFill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Induction hardening</a:t>
                          </a:r>
                        </a:p>
                        <a:p>
                          <a:pPr algn="ctr" latinLnBrk="1"/>
                          <a:r>
                            <a:rPr lang="en-US" altLang="ko-KR" sz="1500" dirty="0">
                              <a:solidFill>
                                <a:srgbClr val="FF0000"/>
                              </a:solidFill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Anodized</a:t>
                          </a:r>
                          <a:endParaRPr lang="ko-KR" altLang="en-US" sz="1500" dirty="0">
                            <a:solidFill>
                              <a:srgbClr val="FF0000"/>
                            </a:solidFill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Much higher than frame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930160384"/>
                      </a:ext>
                    </a:extLst>
                  </a:tr>
                  <a:tr h="79521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LSD, motor case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AL6061-T6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4"/>
                          <a:stretch>
                            <a:fillRect l="-200563" t="-283206" r="-563" b="-205344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89984185"/>
                      </a:ext>
                    </a:extLst>
                  </a:tr>
                  <a:tr h="79521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Bracket (case – frame)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M45C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4"/>
                          <a:stretch>
                            <a:fillRect l="-200563" t="-386154" r="-563" b="-10692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47728973"/>
                      </a:ext>
                    </a:extLst>
                  </a:tr>
                  <a:tr h="79521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Other components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dirty="0">
                              <a:latin typeface="현대하모니 L" panose="02020603020101020101" pitchFamily="18" charset="-127"/>
                              <a:ea typeface="현대하모니 L" panose="02020603020101020101" pitchFamily="18" charset="-127"/>
                            </a:rPr>
                            <a:t>Structural steel</a:t>
                          </a:r>
                          <a:endParaRPr lang="ko-KR" altLang="en-US" sz="1500" dirty="0">
                            <a:latin typeface="현대하모니 L" panose="02020603020101020101" pitchFamily="18" charset="-127"/>
                            <a:ea typeface="현대하모니 L" panose="02020603020101020101" pitchFamily="18" charset="-127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4"/>
                          <a:stretch>
                            <a:fillRect l="-200563" t="-482443" r="-563" b="-6107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95054843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4" name="TextBox 13">
            <a:extLst>
              <a:ext uri="{FF2B5EF4-FFF2-40B4-BE49-F238E27FC236}">
                <a16:creationId xmlns:a16="http://schemas.microsoft.com/office/drawing/2014/main" id="{5FAB4273-ED55-6F20-C325-786BCA1EC62E}"/>
              </a:ext>
            </a:extLst>
          </p:cNvPr>
          <p:cNvSpPr txBox="1"/>
          <p:nvPr/>
        </p:nvSpPr>
        <p:spPr>
          <a:xfrm>
            <a:off x="5440973" y="1051685"/>
            <a:ext cx="485536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able 1. Material of each component</a:t>
            </a:r>
            <a:endParaRPr lang="ko-KR" altLang="en-US" sz="15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1318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7265A8-7FA1-3E43-A8C0-21437780DA4E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blem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alysis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8CD94FCB-4B91-FEAC-A7C0-D8E8E78B58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alysis condition</a:t>
            </a: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04FCBB8-ECFA-0B75-8319-BA975D5967AB}"/>
              </a:ext>
            </a:extLst>
          </p:cNvPr>
          <p:cNvGrpSpPr/>
          <p:nvPr/>
        </p:nvGrpSpPr>
        <p:grpSpPr>
          <a:xfrm>
            <a:off x="422745" y="927280"/>
            <a:ext cx="11552670" cy="5703095"/>
            <a:chOff x="422745" y="949052"/>
            <a:chExt cx="11552670" cy="5703095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D0EB8856-099A-C9B1-E300-AC8FD44F82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2745" y="1585522"/>
              <a:ext cx="6558738" cy="5066625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3AEDE66-E9A7-70FC-D242-EEA3D0288B0C}"/>
                </a:ext>
              </a:extLst>
            </p:cNvPr>
            <p:cNvSpPr txBox="1"/>
            <p:nvPr/>
          </p:nvSpPr>
          <p:spPr>
            <a:xfrm>
              <a:off x="7163930" y="949052"/>
              <a:ext cx="4811485" cy="3362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u="sng" dirty="0"/>
                <a:t>Considered force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/>
                <a:t>Tension on the chain sprockets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/>
                <a:t>Influence of gravity &amp; acceleration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/>
                <a:t>Suspension &amp; main force of upper frame</a:t>
              </a:r>
            </a:p>
            <a:p>
              <a:pPr>
                <a:lnSpc>
                  <a:spcPct val="150000"/>
                </a:lnSpc>
              </a:pPr>
              <a:r>
                <a:rPr lang="en-US" altLang="ko-KR" u="sng" dirty="0"/>
                <a:t>Boundary condition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/>
                <a:t>Line fixed support (point welding)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/>
                <a:t>Remote displacement (8 point)</a:t>
              </a:r>
            </a:p>
            <a:p>
              <a:pPr>
                <a:lnSpc>
                  <a:spcPct val="150000"/>
                </a:lnSpc>
              </a:pPr>
              <a:r>
                <a:rPr lang="en-US" altLang="ko-KR" dirty="0"/>
                <a:t>    (connecting part : arm – frame)</a:t>
              </a:r>
            </a:p>
          </p:txBody>
        </p:sp>
      </p:grpSp>
      <p:sp>
        <p:nvSpPr>
          <p:cNvPr id="8" name="타원 7">
            <a:extLst>
              <a:ext uri="{FF2B5EF4-FFF2-40B4-BE49-F238E27FC236}">
                <a16:creationId xmlns:a16="http://schemas.microsoft.com/office/drawing/2014/main" id="{290D8CF2-A37E-71EC-5EB8-C8E8D15EB95C}"/>
              </a:ext>
            </a:extLst>
          </p:cNvPr>
          <p:cNvSpPr/>
          <p:nvPr/>
        </p:nvSpPr>
        <p:spPr>
          <a:xfrm>
            <a:off x="4495800" y="3032760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39B17CD8-D977-319A-4613-6FA682AA5EA2}"/>
              </a:ext>
            </a:extLst>
          </p:cNvPr>
          <p:cNvSpPr/>
          <p:nvPr/>
        </p:nvSpPr>
        <p:spPr>
          <a:xfrm>
            <a:off x="4512743" y="2508444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7F250BED-092A-050E-9E2E-37E34C85C67B}"/>
              </a:ext>
            </a:extLst>
          </p:cNvPr>
          <p:cNvSpPr/>
          <p:nvPr/>
        </p:nvSpPr>
        <p:spPr>
          <a:xfrm>
            <a:off x="4092344" y="3328476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2D7465FC-78E1-3EA9-803C-B7A8D57E7CC2}"/>
              </a:ext>
            </a:extLst>
          </p:cNvPr>
          <p:cNvSpPr/>
          <p:nvPr/>
        </p:nvSpPr>
        <p:spPr>
          <a:xfrm>
            <a:off x="4109287" y="2804160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83574D8A-A5E1-F4D9-6ECC-D375E73C24D1}"/>
              </a:ext>
            </a:extLst>
          </p:cNvPr>
          <p:cNvSpPr/>
          <p:nvPr/>
        </p:nvSpPr>
        <p:spPr>
          <a:xfrm>
            <a:off x="6355080" y="4175760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86C0EC8A-DBA0-9F59-F69E-C4966FE8ED7E}"/>
              </a:ext>
            </a:extLst>
          </p:cNvPr>
          <p:cNvSpPr/>
          <p:nvPr/>
        </p:nvSpPr>
        <p:spPr>
          <a:xfrm>
            <a:off x="6372023" y="3651444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id="{FD9A7919-48A2-D147-BB3C-BD324C4C78D6}"/>
              </a:ext>
            </a:extLst>
          </p:cNvPr>
          <p:cNvSpPr/>
          <p:nvPr/>
        </p:nvSpPr>
        <p:spPr>
          <a:xfrm>
            <a:off x="5951624" y="4471476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C047D38D-C284-6A28-6DD4-02C07709095D}"/>
              </a:ext>
            </a:extLst>
          </p:cNvPr>
          <p:cNvSpPr/>
          <p:nvPr/>
        </p:nvSpPr>
        <p:spPr>
          <a:xfrm>
            <a:off x="5968567" y="3947160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D425F5CA-3636-518D-D2B7-C7FD6FE5A6C3}"/>
              </a:ext>
            </a:extLst>
          </p:cNvPr>
          <p:cNvSpPr/>
          <p:nvPr/>
        </p:nvSpPr>
        <p:spPr>
          <a:xfrm>
            <a:off x="10850880" y="3557076"/>
            <a:ext cx="213360" cy="228600"/>
          </a:xfrm>
          <a:prstGeom prst="ellipse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1" name="직선 연결선 20">
            <a:extLst>
              <a:ext uri="{FF2B5EF4-FFF2-40B4-BE49-F238E27FC236}">
                <a16:creationId xmlns:a16="http://schemas.microsoft.com/office/drawing/2014/main" id="{FF8FE0B2-1225-E4FE-E60A-236395E06CD0}"/>
              </a:ext>
            </a:extLst>
          </p:cNvPr>
          <p:cNvCxnSpPr>
            <a:cxnSpLocks/>
          </p:cNvCxnSpPr>
          <p:nvPr/>
        </p:nvCxnSpPr>
        <p:spPr>
          <a:xfrm flipH="1">
            <a:off x="2453640" y="3825241"/>
            <a:ext cx="53340" cy="1257299"/>
          </a:xfrm>
          <a:prstGeom prst="line">
            <a:avLst/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F23CB204-753D-C667-7311-E6096B621480}"/>
              </a:ext>
            </a:extLst>
          </p:cNvPr>
          <p:cNvCxnSpPr>
            <a:cxnSpLocks/>
          </p:cNvCxnSpPr>
          <p:nvPr/>
        </p:nvCxnSpPr>
        <p:spPr>
          <a:xfrm flipH="1">
            <a:off x="4785360" y="5119176"/>
            <a:ext cx="53340" cy="1257299"/>
          </a:xfrm>
          <a:prstGeom prst="line">
            <a:avLst/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5A3B1E9E-233E-CD6A-2240-3A077B566090}"/>
              </a:ext>
            </a:extLst>
          </p:cNvPr>
          <p:cNvCxnSpPr>
            <a:cxnSpLocks/>
          </p:cNvCxnSpPr>
          <p:nvPr/>
        </p:nvCxnSpPr>
        <p:spPr>
          <a:xfrm flipV="1">
            <a:off x="4812030" y="3261360"/>
            <a:ext cx="2487932" cy="2339340"/>
          </a:xfrm>
          <a:prstGeom prst="straightConnector1">
            <a:avLst/>
          </a:prstGeom>
          <a:ln w="1905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그림 29">
            <a:extLst>
              <a:ext uri="{FF2B5EF4-FFF2-40B4-BE49-F238E27FC236}">
                <a16:creationId xmlns:a16="http://schemas.microsoft.com/office/drawing/2014/main" id="{ED0702D4-370D-EB78-CA33-99F3CAC0E8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5330" y="4404360"/>
            <a:ext cx="3365550" cy="2226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6154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8BDB0659-463F-0083-2C5A-3DF4F83FFE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615" y="1734814"/>
            <a:ext cx="3742783" cy="335402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0ECD010-5C5E-CB1E-B576-16C358D417E9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blem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alysis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CCEF2130-4CEC-35C4-E16D-CC05A7CBDD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615" y="98589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alysis result</a:t>
            </a:r>
            <a:endParaRPr lang="en-US" altLang="ko-KR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7521E019-F3FE-DCBF-AF46-F242907E4960}"/>
              </a:ext>
            </a:extLst>
          </p:cNvPr>
          <p:cNvGrpSpPr/>
          <p:nvPr/>
        </p:nvGrpSpPr>
        <p:grpSpPr>
          <a:xfrm>
            <a:off x="349956" y="5994555"/>
            <a:ext cx="8264726" cy="323165"/>
            <a:chOff x="317299" y="6197105"/>
            <a:chExt cx="8264726" cy="323165"/>
          </a:xfrm>
        </p:grpSpPr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D94CE1AD-E719-B676-3A69-0AC5BABF6B78}"/>
                </a:ext>
              </a:extLst>
            </p:cNvPr>
            <p:cNvSpPr/>
            <p:nvPr/>
          </p:nvSpPr>
          <p:spPr>
            <a:xfrm rot="10800000">
              <a:off x="317299" y="6273305"/>
              <a:ext cx="758899" cy="175119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7BF9CF4-545A-AA48-4545-C848506C02B4}"/>
                </a:ext>
              </a:extLst>
            </p:cNvPr>
            <p:cNvSpPr txBox="1"/>
            <p:nvPr/>
          </p:nvSpPr>
          <p:spPr>
            <a:xfrm>
              <a:off x="1133475" y="6197105"/>
              <a:ext cx="744855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500" dirty="0"/>
                <a:t>: Parts suspected of yielding during actual operation</a:t>
              </a:r>
            </a:p>
          </p:txBody>
        </p:sp>
      </p:grp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9F90F7EB-3ABD-E158-443F-3088A11E3E9B}"/>
              </a:ext>
            </a:extLst>
          </p:cNvPr>
          <p:cNvGrpSpPr/>
          <p:nvPr/>
        </p:nvGrpSpPr>
        <p:grpSpPr>
          <a:xfrm>
            <a:off x="148445" y="1736314"/>
            <a:ext cx="11776856" cy="3842250"/>
            <a:chOff x="148444" y="1736315"/>
            <a:chExt cx="11824307" cy="3826291"/>
          </a:xfrm>
        </p:grpSpPr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A2D31752-350B-0059-BE1F-0814AF0BA22F}"/>
                </a:ext>
              </a:extLst>
            </p:cNvPr>
            <p:cNvGrpSpPr/>
            <p:nvPr/>
          </p:nvGrpSpPr>
          <p:grpSpPr>
            <a:xfrm>
              <a:off x="148444" y="5213172"/>
              <a:ext cx="11824307" cy="349434"/>
              <a:chOff x="272616" y="5501857"/>
              <a:chExt cx="11824307" cy="370247"/>
            </a:xfrm>
          </p:grpSpPr>
          <p:grpSp>
            <p:nvGrpSpPr>
              <p:cNvPr id="11" name="그룹 10">
                <a:extLst>
                  <a:ext uri="{FF2B5EF4-FFF2-40B4-BE49-F238E27FC236}">
                    <a16:creationId xmlns:a16="http://schemas.microsoft.com/office/drawing/2014/main" id="{5F486544-5B63-F3F7-E344-D314DB3B6F66}"/>
                  </a:ext>
                </a:extLst>
              </p:cNvPr>
              <p:cNvGrpSpPr/>
              <p:nvPr/>
            </p:nvGrpSpPr>
            <p:grpSpPr>
              <a:xfrm>
                <a:off x="272616" y="5501857"/>
                <a:ext cx="7738870" cy="370247"/>
                <a:chOff x="422745" y="5083728"/>
                <a:chExt cx="8029205" cy="323165"/>
              </a:xfrm>
            </p:grpSpPr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6768855E-7B4B-5CD2-DA3D-0081A79CC7C1}"/>
                    </a:ext>
                  </a:extLst>
                </p:cNvPr>
                <p:cNvSpPr txBox="1"/>
                <p:nvPr/>
              </p:nvSpPr>
              <p:spPr>
                <a:xfrm>
                  <a:off x="422745" y="5083728"/>
                  <a:ext cx="4012055" cy="28207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ko-KR" sz="1500" b="1" dirty="0">
                      <a:latin typeface="현대하모니 L" panose="02020603020101020101" pitchFamily="18" charset="-127"/>
                      <a:ea typeface="현대하모니 L" panose="02020603020101020101" pitchFamily="18" charset="-127"/>
                    </a:rPr>
                    <a:t>[Equivalent stress]</a:t>
                  </a:r>
                  <a:endParaRPr lang="ko-KR" altLang="en-US" sz="1500" b="1" dirty="0">
                    <a:latin typeface="현대하모니 L" panose="02020603020101020101" pitchFamily="18" charset="-127"/>
                    <a:ea typeface="현대하모니 L" panose="02020603020101020101" pitchFamily="18" charset="-127"/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D79A49CB-E5C8-9154-3DFB-BD385E5D1871}"/>
                    </a:ext>
                  </a:extLst>
                </p:cNvPr>
                <p:cNvSpPr txBox="1"/>
                <p:nvPr/>
              </p:nvSpPr>
              <p:spPr>
                <a:xfrm>
                  <a:off x="4434800" y="5083728"/>
                  <a:ext cx="4017150" cy="3231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ko-KR" sz="1500" b="1" dirty="0">
                      <a:latin typeface="현대하모니 L" panose="02020603020101020101" pitchFamily="18" charset="-127"/>
                      <a:ea typeface="현대하모니 L" panose="02020603020101020101" pitchFamily="18" charset="-127"/>
                    </a:rPr>
                    <a:t>[Equivalent stress]</a:t>
                  </a:r>
                  <a:endParaRPr lang="ko-KR" altLang="en-US" sz="1500" b="1" dirty="0">
                    <a:latin typeface="현대하모니 L" panose="02020603020101020101" pitchFamily="18" charset="-127"/>
                    <a:ea typeface="현대하모니 L" panose="02020603020101020101" pitchFamily="18" charset="-127"/>
                  </a:endParaRPr>
                </a:p>
              </p:txBody>
            </p:sp>
          </p:grp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712D247-9B17-E8C4-ACFB-2EFA0182C2DB}"/>
                  </a:ext>
                </a:extLst>
              </p:cNvPr>
              <p:cNvSpPr txBox="1"/>
              <p:nvPr/>
            </p:nvSpPr>
            <p:spPr>
              <a:xfrm>
                <a:off x="8006576" y="5501860"/>
                <a:ext cx="4090347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500" b="1" dirty="0">
                    <a:latin typeface="현대하모니 L" panose="02020603020101020101" pitchFamily="18" charset="-127"/>
                    <a:ea typeface="현대하모니 L" panose="02020603020101020101" pitchFamily="18" charset="-127"/>
                  </a:rPr>
                  <a:t>[Result animation : scaled view ]</a:t>
                </a:r>
                <a:endParaRPr lang="ko-KR" altLang="en-US" sz="1500" b="1" dirty="0">
                  <a:latin typeface="현대하모니 L" panose="02020603020101020101" pitchFamily="18" charset="-127"/>
                  <a:ea typeface="현대하모니 L" panose="02020603020101020101" pitchFamily="18" charset="-127"/>
                </a:endParaRPr>
              </a:p>
            </p:txBody>
          </p:sp>
        </p:grpSp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FE890BAA-E664-218A-3693-801DD54F9D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15425" y="1736315"/>
              <a:ext cx="3866979" cy="3329079"/>
            </a:xfrm>
            <a:prstGeom prst="rect">
              <a:avLst/>
            </a:prstGeom>
          </p:spPr>
        </p:pic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919638CA-9112-A5B2-3D5D-CEA3D908E76D}"/>
                </a:ext>
              </a:extLst>
            </p:cNvPr>
            <p:cNvSpPr/>
            <p:nvPr/>
          </p:nvSpPr>
          <p:spPr>
            <a:xfrm rot="19409246">
              <a:off x="1641397" y="3985595"/>
              <a:ext cx="880655" cy="114478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DF80610C-3FF0-407E-A72B-D598D31974FD}"/>
                </a:ext>
              </a:extLst>
            </p:cNvPr>
            <p:cNvSpPr/>
            <p:nvPr/>
          </p:nvSpPr>
          <p:spPr>
            <a:xfrm rot="12921015">
              <a:off x="2613097" y="3400269"/>
              <a:ext cx="1292299" cy="89440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9" name="그림 28" descr="스크린샷, 사각형이(가) 표시된 사진&#10;&#10;자동 생성된 설명">
              <a:extLst>
                <a:ext uri="{FF2B5EF4-FFF2-40B4-BE49-F238E27FC236}">
                  <a16:creationId xmlns:a16="http://schemas.microsoft.com/office/drawing/2014/main" id="{985EF1F6-D6F0-B0DC-1C2A-9E41A52A78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37" r="11397"/>
            <a:stretch/>
          </p:blipFill>
          <p:spPr>
            <a:xfrm>
              <a:off x="7882404" y="1749717"/>
              <a:ext cx="3992297" cy="3325201"/>
            </a:xfrm>
            <a:prstGeom prst="rect">
              <a:avLst/>
            </a:prstGeom>
          </p:spPr>
        </p:pic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65DA1FBD-A3BA-A159-E172-082CBB99378B}"/>
                  </a:ext>
                </a:extLst>
              </p:cNvPr>
              <p:cNvSpPr txBox="1"/>
              <p:nvPr/>
            </p:nvSpPr>
            <p:spPr>
              <a:xfrm>
                <a:off x="295527" y="6400799"/>
                <a:ext cx="5473901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500" dirty="0"/>
                  <a:t>Stress value: </a:t>
                </a:r>
                <a14:m>
                  <m:oMath xmlns:m="http://schemas.openxmlformats.org/officeDocument/2006/math"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488 </m:t>
                    </m:r>
                    <m:d>
                      <m:dPr>
                        <m:begChr m:val="["/>
                        <m:endChr m:val="]"/>
                        <m:ctrlPr>
                          <a:rPr lang="en-US" altLang="ko-KR" sz="15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500" b="0" i="1" smtClean="0">
                            <a:latin typeface="Cambria Math" panose="02040503050406030204" pitchFamily="18" charset="0"/>
                          </a:rPr>
                          <m:t>𝑀𝑃𝑎</m:t>
                        </m:r>
                      </m:e>
                    </m:d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, 354 [</m:t>
                    </m:r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𝑀𝑃𝑎</m:t>
                    </m:r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ko-KR" altLang="en-US" sz="1500" dirty="0"/>
              </a:p>
            </p:txBody>
          </p:sp>
        </mc:Choice>
        <mc:Fallback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65DA1FBD-A3BA-A159-E172-082CBB9937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527" y="6400799"/>
                <a:ext cx="5473901" cy="323165"/>
              </a:xfrm>
              <a:prstGeom prst="rect">
                <a:avLst/>
              </a:prstGeom>
              <a:blipFill>
                <a:blip r:embed="rId6"/>
                <a:stretch>
                  <a:fillRect l="-445" t="-3774" b="-1886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02813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6709C6C8-9406-F1C0-2F5D-A9452D323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velopment plan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C87B1CE6-AA9B-F710-AAD8-CDAFC93EFBD3}"/>
              </a:ext>
            </a:extLst>
          </p:cNvPr>
          <p:cNvGrpSpPr/>
          <p:nvPr/>
        </p:nvGrpSpPr>
        <p:grpSpPr>
          <a:xfrm>
            <a:off x="422745" y="1790258"/>
            <a:ext cx="5339700" cy="4446641"/>
            <a:chOff x="422745" y="1790258"/>
            <a:chExt cx="5339700" cy="4446641"/>
          </a:xfrm>
        </p:grpSpPr>
        <p:grpSp>
          <p:nvGrpSpPr>
            <p:cNvPr id="2" name="그룹 1">
              <a:extLst>
                <a:ext uri="{FF2B5EF4-FFF2-40B4-BE49-F238E27FC236}">
                  <a16:creationId xmlns:a16="http://schemas.microsoft.com/office/drawing/2014/main" id="{75F92D6C-B1EE-858B-D7B8-0F521821FC21}"/>
                </a:ext>
              </a:extLst>
            </p:cNvPr>
            <p:cNvGrpSpPr/>
            <p:nvPr/>
          </p:nvGrpSpPr>
          <p:grpSpPr>
            <a:xfrm>
              <a:off x="422745" y="1790258"/>
              <a:ext cx="5339700" cy="4446641"/>
              <a:chOff x="325172" y="1537637"/>
              <a:chExt cx="4803404" cy="3965757"/>
            </a:xfrm>
          </p:grpSpPr>
          <p:pic>
            <p:nvPicPr>
              <p:cNvPr id="5" name="그림 4">
                <a:extLst>
                  <a:ext uri="{FF2B5EF4-FFF2-40B4-BE49-F238E27FC236}">
                    <a16:creationId xmlns:a16="http://schemas.microsoft.com/office/drawing/2014/main" id="{E264DEAC-6244-A144-FBB7-8445F40BB7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26945" y="1537637"/>
                <a:ext cx="4801631" cy="3405733"/>
              </a:xfrm>
              <a:prstGeom prst="rect">
                <a:avLst/>
              </a:prstGeom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FA1B0F5-D3FF-FFC5-4878-F8C961CD8E54}"/>
                  </a:ext>
                </a:extLst>
              </p:cNvPr>
              <p:cNvSpPr txBox="1"/>
              <p:nvPr/>
            </p:nvSpPr>
            <p:spPr>
              <a:xfrm>
                <a:off x="325172" y="5134062"/>
                <a:ext cx="48016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b="1" dirty="0">
                    <a:latin typeface="현대하모니 L" panose="02020603020101020101" pitchFamily="18" charset="-127"/>
                    <a:ea typeface="현대하모니 L" panose="02020603020101020101" pitchFamily="18" charset="-127"/>
                  </a:rPr>
                  <a:t>[Problem model : 2 point contact]</a:t>
                </a:r>
                <a:endParaRPr lang="ko-KR" altLang="en-US" b="1" dirty="0">
                  <a:latin typeface="현대하모니 L" panose="02020603020101020101" pitchFamily="18" charset="-127"/>
                  <a:ea typeface="현대하모니 L" panose="02020603020101020101" pitchFamily="18" charset="-127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C7F39A5-90A2-2829-4575-BB2A84B064C6}"/>
                </a:ext>
              </a:extLst>
            </p:cNvPr>
            <p:cNvSpPr txBox="1"/>
            <p:nvPr/>
          </p:nvSpPr>
          <p:spPr>
            <a:xfrm>
              <a:off x="2717321" y="4347713"/>
              <a:ext cx="1759788" cy="862642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endParaRPr lang="ko-KR" alt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6A106ED-96D2-CFF9-622C-359BFA767830}"/>
                </a:ext>
              </a:extLst>
            </p:cNvPr>
            <p:cNvSpPr txBox="1"/>
            <p:nvPr/>
          </p:nvSpPr>
          <p:spPr>
            <a:xfrm>
              <a:off x="2274498" y="3268291"/>
              <a:ext cx="365185" cy="862642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endParaRPr lang="ko-KR" altLang="en-US" dirty="0"/>
            </a:p>
          </p:txBody>
        </p:sp>
      </p:grp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B64C8B2B-0451-CCBC-31B4-C03C9B393DF0}"/>
              </a:ext>
            </a:extLst>
          </p:cNvPr>
          <p:cNvCxnSpPr>
            <a:cxnSpLocks/>
          </p:cNvCxnSpPr>
          <p:nvPr/>
        </p:nvCxnSpPr>
        <p:spPr>
          <a:xfrm>
            <a:off x="5822734" y="1029067"/>
            <a:ext cx="0" cy="54477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80862CB-F323-3992-0A4F-E3FCE4777C43}"/>
              </a:ext>
            </a:extLst>
          </p:cNvPr>
          <p:cNvSpPr txBox="1"/>
          <p:nvPr/>
        </p:nvSpPr>
        <p:spPr>
          <a:xfrm>
            <a:off x="5999307" y="757057"/>
            <a:ext cx="6264762" cy="2209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blems occurred in the two point model</a:t>
            </a:r>
          </a:p>
          <a:p>
            <a:pPr marL="342900" indent="-342900">
              <a:lnSpc>
                <a:spcPct val="200000"/>
              </a:lnSpc>
              <a:buAutoNum type="arabicParenR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Horizontal rotation of motor due to tension</a:t>
            </a:r>
          </a:p>
          <a:p>
            <a:pPr marL="342900" indent="-342900">
              <a:lnSpc>
                <a:spcPct val="200000"/>
              </a:lnSpc>
              <a:buAutoNum type="arabicParenR" startAt="2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placement of rear part due to tension</a:t>
            </a:r>
          </a:p>
          <a:p>
            <a:pPr marL="342900" indent="-342900">
              <a:lnSpc>
                <a:spcPct val="200000"/>
              </a:lnSpc>
              <a:buAutoNum type="arabicParenR" startAt="2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bability of material yield</a:t>
            </a:r>
          </a:p>
        </p:txBody>
      </p:sp>
      <p:sp>
        <p:nvSpPr>
          <p:cNvPr id="13" name="화살표: 갈매기형 수장 12">
            <a:extLst>
              <a:ext uri="{FF2B5EF4-FFF2-40B4-BE49-F238E27FC236}">
                <a16:creationId xmlns:a16="http://schemas.microsoft.com/office/drawing/2014/main" id="{5148D570-0806-4A76-0492-7DA0EFB73699}"/>
              </a:ext>
            </a:extLst>
          </p:cNvPr>
          <p:cNvSpPr/>
          <p:nvPr/>
        </p:nvSpPr>
        <p:spPr>
          <a:xfrm rot="5400000">
            <a:off x="8251185" y="2958467"/>
            <a:ext cx="587439" cy="1001485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53253B-9864-CD92-3C76-6099D3BCF414}"/>
              </a:ext>
            </a:extLst>
          </p:cNvPr>
          <p:cNvSpPr txBox="1"/>
          <p:nvPr/>
        </p:nvSpPr>
        <p:spPr>
          <a:xfrm>
            <a:off x="6096000" y="3752929"/>
            <a:ext cx="6264762" cy="2209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evelopment plans</a:t>
            </a:r>
          </a:p>
          <a:p>
            <a:pPr marL="342900" indent="-342900">
              <a:lnSpc>
                <a:spcPct val="200000"/>
              </a:lnSpc>
              <a:buAutoNum type="arabicParenR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Need one more point contact of the motor case</a:t>
            </a:r>
          </a:p>
          <a:p>
            <a:pPr marL="342900" indent="-342900">
              <a:lnSpc>
                <a:spcPct val="200000"/>
              </a:lnSpc>
              <a:buAutoNum type="arabicParenR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Need more frame considering the displacement of </a:t>
            </a:r>
          </a:p>
          <a:p>
            <a:pPr>
              <a:lnSpc>
                <a:spcPct val="20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rear pa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D04001-EF9A-D2F2-E55E-519B5B4C756D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veloping process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9704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E4211E9-A7EE-ED2E-BE9A-D77EA4FA349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veloping process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CD906492-5B10-E5E1-D5FC-EAE0C81F1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veloped model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0DEE2195-7AAD-EA6D-1F90-EC89D6E51A5E}"/>
              </a:ext>
            </a:extLst>
          </p:cNvPr>
          <p:cNvGrpSpPr/>
          <p:nvPr/>
        </p:nvGrpSpPr>
        <p:grpSpPr>
          <a:xfrm>
            <a:off x="422745" y="1949441"/>
            <a:ext cx="4803404" cy="3965757"/>
            <a:chOff x="325172" y="1537637"/>
            <a:chExt cx="4803404" cy="3965757"/>
          </a:xfrm>
        </p:grpSpPr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A5B047EE-7EAF-2BF3-074D-D8A831AE3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6945" y="1537637"/>
              <a:ext cx="4801631" cy="340573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F7DE895-550E-6922-C732-7F63587B23E0}"/>
                </a:ext>
              </a:extLst>
            </p:cNvPr>
            <p:cNvSpPr txBox="1"/>
            <p:nvPr/>
          </p:nvSpPr>
          <p:spPr>
            <a:xfrm>
              <a:off x="325172" y="5134062"/>
              <a:ext cx="48016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b="1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[Problem model]</a:t>
              </a:r>
              <a:endParaRPr lang="ko-KR" altLang="en-US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sp>
        <p:nvSpPr>
          <p:cNvPr id="7" name="화살표: 갈매기형 수장 6">
            <a:extLst>
              <a:ext uri="{FF2B5EF4-FFF2-40B4-BE49-F238E27FC236}">
                <a16:creationId xmlns:a16="http://schemas.microsoft.com/office/drawing/2014/main" id="{D0ABA99D-2FAE-E528-806F-0F6BE2AA01B5}"/>
              </a:ext>
            </a:extLst>
          </p:cNvPr>
          <p:cNvSpPr/>
          <p:nvPr/>
        </p:nvSpPr>
        <p:spPr>
          <a:xfrm>
            <a:off x="5680009" y="3008801"/>
            <a:ext cx="587439" cy="1001485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1F63E520-BEFB-9126-1D36-A172B77931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3024" y="1949441"/>
            <a:ext cx="5267673" cy="345264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249A49-1E3B-DE54-9721-FE7FE2F566A1}"/>
              </a:ext>
            </a:extLst>
          </p:cNvPr>
          <p:cNvSpPr txBox="1"/>
          <p:nvPr/>
        </p:nvSpPr>
        <p:spPr>
          <a:xfrm>
            <a:off x="6393024" y="5545866"/>
            <a:ext cx="5267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Developed model]</a:t>
            </a:r>
            <a:endParaRPr lang="ko-KR" altLang="en-US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8F08A4-A70E-4A1C-B49E-3B8C5342E491}"/>
              </a:ext>
            </a:extLst>
          </p:cNvPr>
          <p:cNvSpPr txBox="1"/>
          <p:nvPr/>
        </p:nvSpPr>
        <p:spPr>
          <a:xfrm>
            <a:off x="8392270" y="3295937"/>
            <a:ext cx="370731" cy="503178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C531E0-8443-481C-3AA3-B2326C2DCF22}"/>
              </a:ext>
            </a:extLst>
          </p:cNvPr>
          <p:cNvSpPr txBox="1"/>
          <p:nvPr/>
        </p:nvSpPr>
        <p:spPr>
          <a:xfrm>
            <a:off x="8656129" y="4010286"/>
            <a:ext cx="1935671" cy="779428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299366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FC40C76-B417-3E0B-2AD5-0B0056893699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veloping process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39198177-CA91-B13E-3BE3-BFC32AB960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alysis result</a:t>
            </a: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60B2B580-3978-3D5C-5A1F-CAE3C42F1D4B}"/>
              </a:ext>
            </a:extLst>
          </p:cNvPr>
          <p:cNvGrpSpPr/>
          <p:nvPr/>
        </p:nvGrpSpPr>
        <p:grpSpPr>
          <a:xfrm>
            <a:off x="466290" y="1692652"/>
            <a:ext cx="7425853" cy="3739319"/>
            <a:chOff x="466290" y="1692652"/>
            <a:chExt cx="7935255" cy="379630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DF5C4A95-4EB0-5C36-9F70-6FCA37D4DE0E}"/>
                </a:ext>
              </a:extLst>
            </p:cNvPr>
            <p:cNvGrpSpPr/>
            <p:nvPr/>
          </p:nvGrpSpPr>
          <p:grpSpPr>
            <a:xfrm>
              <a:off x="466290" y="1692652"/>
              <a:ext cx="3967628" cy="3771978"/>
              <a:chOff x="422745" y="1681765"/>
              <a:chExt cx="4584685" cy="4079033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3268DDD6-B980-B6E4-B80F-7FA7550E21A4}"/>
                  </a:ext>
                </a:extLst>
              </p:cNvPr>
              <p:cNvSpPr txBox="1"/>
              <p:nvPr/>
            </p:nvSpPr>
            <p:spPr>
              <a:xfrm>
                <a:off x="422745" y="5437633"/>
                <a:ext cx="4584684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500" b="1" dirty="0">
                    <a:latin typeface="현대하모니 L" panose="02020603020101020101" pitchFamily="18" charset="-127"/>
                    <a:ea typeface="현대하모니 L" panose="02020603020101020101" pitchFamily="18" charset="-127"/>
                  </a:rPr>
                  <a:t>[Equivalent stress]</a:t>
                </a:r>
                <a:endParaRPr lang="ko-KR" altLang="en-US" sz="1500" b="1" dirty="0">
                  <a:latin typeface="현대하모니 L" panose="02020603020101020101" pitchFamily="18" charset="-127"/>
                  <a:ea typeface="현대하모니 L" panose="02020603020101020101" pitchFamily="18" charset="-127"/>
                </a:endParaRPr>
              </a:p>
            </p:txBody>
          </p:sp>
          <p:pic>
            <p:nvPicPr>
              <p:cNvPr id="5" name="그림 4">
                <a:extLst>
                  <a:ext uri="{FF2B5EF4-FFF2-40B4-BE49-F238E27FC236}">
                    <a16:creationId xmlns:a16="http://schemas.microsoft.com/office/drawing/2014/main" id="{175B152A-C107-4A8A-C06E-6D4A292622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22746" y="1681765"/>
                <a:ext cx="4584684" cy="3610536"/>
              </a:xfrm>
              <a:prstGeom prst="rect">
                <a:avLst/>
              </a:prstGeom>
            </p:spPr>
          </p:pic>
        </p:grpSp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CF2571FA-B9C5-CB7C-38D7-B1335F2DE0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33917" y="1692652"/>
              <a:ext cx="3967628" cy="3338747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44ACBC0-FF9D-2A41-A91C-FD512716B983}"/>
                </a:ext>
              </a:extLst>
            </p:cNvPr>
            <p:cNvSpPr txBox="1"/>
            <p:nvPr/>
          </p:nvSpPr>
          <p:spPr>
            <a:xfrm>
              <a:off x="4433917" y="5165792"/>
              <a:ext cx="3967627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500" b="1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[Equivalent stress]</a:t>
              </a:r>
              <a:endParaRPr lang="ko-KR" altLang="en-US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pic>
        <p:nvPicPr>
          <p:cNvPr id="16" name="그림 15" descr="스크린샷이(가) 표시된 사진&#10;&#10;자동 생성된 설명">
            <a:extLst>
              <a:ext uri="{FF2B5EF4-FFF2-40B4-BE49-F238E27FC236}">
                <a16:creationId xmlns:a16="http://schemas.microsoft.com/office/drawing/2014/main" id="{E3D09E04-CBF3-8E18-DBC7-FD633A5A625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1" r="7528"/>
          <a:stretch/>
        </p:blipFill>
        <p:spPr>
          <a:xfrm>
            <a:off x="7892142" y="1692650"/>
            <a:ext cx="3995058" cy="328862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9A28710-05E1-BD56-1488-28CCF8BE1A79}"/>
              </a:ext>
            </a:extLst>
          </p:cNvPr>
          <p:cNvSpPr txBox="1"/>
          <p:nvPr/>
        </p:nvSpPr>
        <p:spPr>
          <a:xfrm>
            <a:off x="7892142" y="5125700"/>
            <a:ext cx="399505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Result animation : scaled view ]</a:t>
            </a:r>
            <a:endParaRPr lang="ko-KR" altLang="en-US" sz="15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EBF7EFE-5191-C653-5BA5-7456F0473985}"/>
                  </a:ext>
                </a:extLst>
              </p:cNvPr>
              <p:cNvSpPr txBox="1"/>
              <p:nvPr/>
            </p:nvSpPr>
            <p:spPr>
              <a:xfrm>
                <a:off x="295527" y="6400799"/>
                <a:ext cx="5473901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500" dirty="0"/>
                  <a:t>Stress value: </a:t>
                </a:r>
                <a14:m>
                  <m:oMath xmlns:m="http://schemas.openxmlformats.org/officeDocument/2006/math"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97 </m:t>
                    </m:r>
                    <m:d>
                      <m:dPr>
                        <m:begChr m:val="["/>
                        <m:endChr m:val="]"/>
                        <m:ctrlPr>
                          <a:rPr lang="en-US" altLang="ko-KR" sz="15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500" b="0" i="1" smtClean="0">
                            <a:latin typeface="Cambria Math" panose="02040503050406030204" pitchFamily="18" charset="0"/>
                          </a:rPr>
                          <m:t>𝑀𝑃𝑎</m:t>
                        </m:r>
                      </m:e>
                    </m:d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, 145 [</m:t>
                    </m:r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𝑀𝑃𝑎</m:t>
                    </m:r>
                    <m:r>
                      <a:rPr lang="en-US" altLang="ko-KR" sz="1500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ko-KR" altLang="en-US" sz="1500" dirty="0"/>
              </a:p>
            </p:txBody>
          </p:sp>
        </mc:Choice>
        <mc:Fallback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EBF7EFE-5191-C653-5BA5-7456F04739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527" y="6400799"/>
                <a:ext cx="5473901" cy="323165"/>
              </a:xfrm>
              <a:prstGeom prst="rect">
                <a:avLst/>
              </a:prstGeom>
              <a:blipFill>
                <a:blip r:embed="rId6"/>
                <a:stretch>
                  <a:fillRect l="-445" t="-3774" b="-1886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43163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132AA40-1AB0-339F-1F62-F3BCF720522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Next pla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505F71C4-F664-1A64-C810-D03D58FFE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14</a:t>
            </a:r>
            <a:r>
              <a:rPr lang="en-US" altLang="ko-KR" kern="0" baseline="30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th</a:t>
            </a:r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week pla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A5E971-D7EF-144B-712B-2F053E203B1A}"/>
              </a:ext>
            </a:extLst>
          </p:cNvPr>
          <p:cNvSpPr txBox="1"/>
          <p:nvPr/>
        </p:nvSpPr>
        <p:spPr>
          <a:xfrm>
            <a:off x="422745" y="1600200"/>
            <a:ext cx="115406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Fatigue analysis (life &amp; safety facto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Apply boundary condition &amp; connection those are closer to reality</a:t>
            </a:r>
          </a:p>
        </p:txBody>
      </p:sp>
    </p:spTree>
    <p:extLst>
      <p:ext uri="{BB962C8B-B14F-4D97-AF65-F5344CB8AC3E}">
        <p14:creationId xmlns:p14="http://schemas.microsoft.com/office/powerpoint/2010/main" val="2228097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41</TotalTime>
  <Words>1082</Words>
  <Application>Microsoft Office PowerPoint</Application>
  <PresentationFormat>와이드스크린</PresentationFormat>
  <Paragraphs>154</Paragraphs>
  <Slides>10</Slides>
  <Notes>9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7" baseType="lpstr">
      <vt:lpstr>맑은 고딕</vt:lpstr>
      <vt:lpstr>Cambria Math</vt:lpstr>
      <vt:lpstr>현대하모니 M</vt:lpstr>
      <vt:lpstr>현대하모니 L</vt:lpstr>
      <vt:lpstr>현대하모니 B</vt:lpstr>
      <vt:lpstr>Arial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Minung Han</cp:lastModifiedBy>
  <cp:revision>987</cp:revision>
  <dcterms:created xsi:type="dcterms:W3CDTF">2023-02-24T09:29:18Z</dcterms:created>
  <dcterms:modified xsi:type="dcterms:W3CDTF">2023-11-26T04:27:39Z</dcterms:modified>
</cp:coreProperties>
</file>